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1412263" r:id="rId2"/>
    <p:sldId id="2141412289" r:id="rId3"/>
    <p:sldId id="2141412308" r:id="rId4"/>
    <p:sldId id="2141412328" r:id="rId5"/>
    <p:sldId id="2141412348" r:id="rId6"/>
    <p:sldId id="2141412345" r:id="rId7"/>
    <p:sldId id="2141412347" r:id="rId8"/>
    <p:sldId id="2141412329" r:id="rId9"/>
    <p:sldId id="2141412269" r:id="rId10"/>
    <p:sldId id="2141412332" r:id="rId11"/>
    <p:sldId id="2141412314" r:id="rId12"/>
    <p:sldId id="2141412330" r:id="rId13"/>
    <p:sldId id="2141412333" r:id="rId14"/>
    <p:sldId id="2141412309" r:id="rId15"/>
    <p:sldId id="2141412270" r:id="rId16"/>
    <p:sldId id="2141412331" r:id="rId17"/>
    <p:sldId id="2141412311" r:id="rId18"/>
    <p:sldId id="2141412315" r:id="rId19"/>
    <p:sldId id="2141412312" r:id="rId20"/>
    <p:sldId id="2141412346" r:id="rId21"/>
    <p:sldId id="2141412325" r:id="rId22"/>
    <p:sldId id="2141412337" r:id="rId23"/>
    <p:sldId id="2141412335" r:id="rId24"/>
    <p:sldId id="2141412336" r:id="rId25"/>
    <p:sldId id="2141412338" r:id="rId26"/>
    <p:sldId id="2141412339" r:id="rId27"/>
    <p:sldId id="2141412340" r:id="rId28"/>
    <p:sldId id="2141412341" r:id="rId29"/>
    <p:sldId id="2141412342" r:id="rId30"/>
    <p:sldId id="2141412343" r:id="rId31"/>
    <p:sldId id="2141412344" r:id="rId32"/>
  </p:sldIdLst>
  <p:sldSz cx="12192000" cy="6858000"/>
  <p:notesSz cx="6858000" cy="9144000"/>
  <p:defaultTextStyle>
    <a:defPPr>
      <a:defRPr lang="en-P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9" d="100"/>
          <a:sy n="79" d="100"/>
        </p:scale>
        <p:origin x="773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image" Target="../media/image4.png"/><Relationship Id="rId5" Type="http://schemas.openxmlformats.org/officeDocument/2006/relationships/tags" Target="../tags/tag91.xml"/><Relationship Id="rId10" Type="http://schemas.openxmlformats.org/officeDocument/2006/relationships/image" Target="../media/image1.emf"/><Relationship Id="rId4" Type="http://schemas.openxmlformats.org/officeDocument/2006/relationships/tags" Target="../tags/tag90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image" Target="../media/image4.png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1.emf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4.png"/><Relationship Id="rId4" Type="http://schemas.openxmlformats.org/officeDocument/2006/relationships/tags" Target="../tags/tag118.xml"/><Relationship Id="rId9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3.emf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1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3.xml"/><Relationship Id="rId4" Type="http://schemas.openxmlformats.org/officeDocument/2006/relationships/tags" Target="../tags/tag13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3.emf"/><Relationship Id="rId4" Type="http://schemas.openxmlformats.org/officeDocument/2006/relationships/tags" Target="../tags/tag53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oleObject" Target="../embeddings/oleObject9.bin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0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image" Target="../media/image4.png"/><Relationship Id="rId10" Type="http://schemas.openxmlformats.org/officeDocument/2006/relationships/tags" Target="../tags/tag85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FFFFFF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0000"/>
                </a:solidFill>
              </a:rPr>
              <a:t>Government of Khyber Pakhtunkhw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6212B8B-663D-945A-9864-26B3A0198E7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47476" y="257899"/>
            <a:ext cx="1559084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5405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2. Slide Title">
            <a:extLst>
              <a:ext uri="{FF2B5EF4-FFF2-40B4-BE49-F238E27FC236}">
                <a16:creationId xmlns:a16="http://schemas.microsoft.com/office/drawing/2014/main" id="{9D2B658E-72DB-4280-848C-997D8D90A82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62324E8-6694-4340-9960-C47E13D046FB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C3992361-98AA-AC90-ACCB-F04F04EB69D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880" y="74067"/>
            <a:ext cx="840064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37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72" imgH="588" progId="TCLayout.ActiveDocument.1">
                  <p:embed/>
                </p:oleObj>
              </mc:Choice>
              <mc:Fallback>
                <p:oleObj name="think-cell Slide" r:id="rId13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id="{283AA53C-33A4-4DA5-9E72-12C2883CAF2A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id="{D0F7ADBC-6D86-4EAD-85BB-DADD184C60B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E3AEA7-76E4-4DBB-B219-BB82D650A1EE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D9C9910C-B89C-2EFE-1F48-3085C88973D7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880" y="74067"/>
            <a:ext cx="840064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8311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0201B559-53A5-4D8D-8C98-7ED52ACCCCB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1BA93093-D8C7-45C3-AAB7-AF77483A929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493D3A4E-EFC6-9C0A-B745-7CFC0161F874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880" y="74067"/>
            <a:ext cx="840064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308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C4AAE69B-1068-BCA0-3D77-1F6D95FA673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880" y="74067"/>
            <a:ext cx="840064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56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13158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192134E2-5581-1256-BFB8-86AE6000B3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933" y="2229011"/>
            <a:ext cx="2225276" cy="227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971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33D06939-29E1-515F-9663-207779C9D1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693" y="1702287"/>
            <a:ext cx="2225276" cy="2276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0015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DC1242-3897-4A59-9C22-066B1B6233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PK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99EF21-E811-4F4F-9527-E40E3A3982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6098970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Title Text"/>
          <p:cNvSpPr txBox="1">
            <a:spLocks noGrp="1"/>
          </p:cNvSpPr>
          <p:nvPr>
            <p:ph type="title"/>
          </p:nvPr>
        </p:nvSpPr>
        <p:spPr>
          <a:xfrm>
            <a:off x="554737" y="103152"/>
            <a:ext cx="10160066" cy="731520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000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26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54734" y="41597"/>
            <a:ext cx="3843340" cy="123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300"/>
              </a:spcBef>
              <a:buClrTx/>
              <a:buSzTx/>
              <a:buFontTx/>
              <a:buNone/>
              <a:defRPr sz="800">
                <a:solidFill>
                  <a:srgbClr val="000000"/>
                </a:solidFill>
              </a:defRPr>
            </a:lvl1pPr>
            <a:lvl2pPr marL="114300" indent="-114300">
              <a:lnSpc>
                <a:spcPct val="100000"/>
              </a:lnSpc>
              <a:spcBef>
                <a:spcPts val="300"/>
              </a:spcBef>
              <a:buClrTx/>
              <a:buFontTx/>
              <a:defRPr sz="800">
                <a:solidFill>
                  <a:srgbClr val="000000"/>
                </a:solidFill>
              </a:defRPr>
            </a:lvl2pPr>
            <a:lvl3pPr marL="333756" indent="-105156">
              <a:lnSpc>
                <a:spcPct val="100000"/>
              </a:lnSpc>
              <a:spcBef>
                <a:spcPts val="300"/>
              </a:spcBef>
              <a:buClrTx/>
              <a:buFontTx/>
              <a:defRPr sz="800">
                <a:solidFill>
                  <a:srgbClr val="000000"/>
                </a:solidFill>
              </a:defRPr>
            </a:lvl3pPr>
            <a:lvl4pPr marL="516636" indent="-77723">
              <a:lnSpc>
                <a:spcPct val="100000"/>
              </a:lnSpc>
              <a:spcBef>
                <a:spcPts val="300"/>
              </a:spcBef>
              <a:buClrTx/>
              <a:buFontTx/>
              <a:defRPr sz="800">
                <a:solidFill>
                  <a:srgbClr val="000000"/>
                </a:solidFill>
              </a:defRPr>
            </a:lvl4pPr>
            <a:lvl5pPr marL="740662" indent="-73151">
              <a:lnSpc>
                <a:spcPct val="100000"/>
              </a:lnSpc>
              <a:spcBef>
                <a:spcPts val="300"/>
              </a:spcBef>
              <a:buClrTx/>
              <a:buFontTx/>
              <a:defRPr sz="800">
                <a:solidFill>
                  <a:srgbClr val="000000"/>
                </a:solidFill>
              </a:defRPr>
            </a:lvl5pPr>
          </a:lstStyle>
          <a:p>
            <a:r>
              <a:t>Add tracker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2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09465" y="6510254"/>
            <a:ext cx="128564" cy="127001"/>
          </a:xfrm>
          <a:prstGeom prst="rect">
            <a:avLst/>
          </a:prstGeom>
        </p:spPr>
        <p:txBody>
          <a:bodyPr lIns="0" tIns="0" rIns="0" bIns="0" anchor="b"/>
          <a:lstStyle>
            <a:lvl1pPr algn="r" defTabSz="610744">
              <a:defRPr sz="9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898536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3" imgH="416" progId="TCLayout.ActiveDocument.1">
                  <p:embed/>
                </p:oleObj>
              </mc:Choice>
              <mc:Fallback>
                <p:oleObj name="think-cell Slide" r:id="rId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>
                <a:solidFill>
                  <a:srgbClr val="000000"/>
                </a:solidFill>
              </a:rPr>
              <a:t>Source: …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268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83741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7243" y="-31452"/>
            <a:ext cx="10972800" cy="796156"/>
          </a:xfrm>
        </p:spPr>
        <p:txBody>
          <a:bodyPr>
            <a:normAutofit/>
          </a:bodyPr>
          <a:lstStyle>
            <a:lvl1pPr algn="l">
              <a:defRPr sz="3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A87AAD-2583-4594-95DD-51F54458CA3F}" type="datetime1">
              <a:rPr lang="en-AU" smtClean="0"/>
              <a:pPr/>
              <a:t>24/07/2023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7200" y="6460704"/>
            <a:ext cx="2844800" cy="365125"/>
          </a:xfrm>
        </p:spPr>
        <p:txBody>
          <a:bodyPr/>
          <a:lstStyle/>
          <a:p>
            <a:fld id="{3C5BF90F-693A-4C87-95ED-E3195A57E8E9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764704"/>
            <a:ext cx="12192000" cy="0"/>
          </a:xfrm>
          <a:prstGeom prst="line">
            <a:avLst/>
          </a:prstGeom>
          <a:ln>
            <a:solidFill>
              <a:srgbClr val="428A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G:\KPK-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2544" y="50344"/>
            <a:ext cx="1147349" cy="644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6808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682729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25537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61246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71562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D19401A5-72E5-4C46-8FAA-8600CAC4127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1286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id="{4BCEE20B-068B-4409-9929-C9F6EFDCE7C2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id="{04B50E07-5CF6-4FA4-80C0-5A97640377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 descr="Logo&#10;&#10;Description automatically generated">
            <a:extLst>
              <a:ext uri="{FF2B5EF4-FFF2-40B4-BE49-F238E27FC236}">
                <a16:creationId xmlns:a16="http://schemas.microsoft.com/office/drawing/2014/main" id="{358EFC31-013E-6F3E-07BA-9C8AD41FDCF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880" y="74067"/>
            <a:ext cx="840064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3530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id="{4621481D-27E5-4F87-B45B-41DC18907499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id="{29C45080-F0A3-4994-8BE9-0C272784001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0324EE6-02E1-4789-BCBA-CEC16E7B160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993FCA99-CB1E-B464-0A45-DF23B260FBC5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880" y="74067"/>
            <a:ext cx="840064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5580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34" Type="http://schemas.openxmlformats.org/officeDocument/2006/relationships/tags" Target="../tags/tag13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0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2BCBBD5C-74E4-49E5-AB9C-046CC11FD95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7671A9-71DB-43E2-9D83-DE6CB521F4F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A14524F-36B3-4640-BB23-FC33343843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B313E13-C478-43A9-8722-8D490DFC9F2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1CCE464-A935-45D5-9DD2-6FD002E2E10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F06CB200-3A1A-467F-8166-1307ABD2F9D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A70474-5B3B-4D05-B276-92201F90794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47F3DF-D57B-42D9-97F5-DF93588DD45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08C970BA-BB1D-41DF-BB7E-F37715E023C2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BB43699A-A93F-40F4-B94F-5ACC3FC7A2B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ooter Placeholder 5">
            <a:extLst>
              <a:ext uri="{FF2B5EF4-FFF2-40B4-BE49-F238E27FC236}">
                <a16:creationId xmlns:a16="http://schemas.microsoft.com/office/drawing/2014/main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rgbClr val="000000"/>
                </a:solidFill>
              </a:rPr>
              <a:t>Government of Khyber Pakhtunkhwa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" name="Picture 152">
            <a:extLst>
              <a:ext uri="{FF2B5EF4-FFF2-40B4-BE49-F238E27FC236}">
                <a16:creationId xmlns:a16="http://schemas.microsoft.com/office/drawing/2014/main" id="{58BDBCCA-1188-D2BA-060D-4D376DA30B84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10856494" y="74067"/>
            <a:ext cx="837451" cy="85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31.xml"/><Relationship Id="rId2" Type="http://schemas.openxmlformats.org/officeDocument/2006/relationships/slide" Target="slide3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slide" Target="slide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" Target="slide1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" Target="slide1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7.xml"/><Relationship Id="rId2" Type="http://schemas.openxmlformats.org/officeDocument/2006/relationships/slide" Target="slide26.xml"/><Relationship Id="rId1" Type="http://schemas.openxmlformats.org/officeDocument/2006/relationships/slideLayout" Target="../slideLayouts/slideLayout2.xml"/><Relationship Id="rId5" Type="http://schemas.openxmlformats.org/officeDocument/2006/relationships/slide" Target="slide29.xml"/><Relationship Id="rId4" Type="http://schemas.openxmlformats.org/officeDocument/2006/relationships/slide" Target="slide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5B75A128-610E-4E60-A6DA-F9F4B1355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5823" y="4943164"/>
            <a:ext cx="9726795" cy="307777"/>
          </a:xfrm>
        </p:spPr>
        <p:txBody>
          <a:bodyPr/>
          <a:lstStyle/>
          <a:p>
            <a:pPr algn="ctr">
              <a:buNone/>
            </a:pPr>
            <a:r>
              <a:rPr lang="en-US" dirty="0"/>
              <a:t>24</a:t>
            </a:r>
            <a:r>
              <a:rPr lang="en-US" baseline="30000" dirty="0"/>
              <a:t>th</a:t>
            </a:r>
            <a:r>
              <a:rPr lang="en-US" dirty="0"/>
              <a:t> July 202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FCDB70-7EB0-4EEE-AE40-4F2E95F161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1" y="2799259"/>
            <a:ext cx="10374560" cy="2031325"/>
          </a:xfrm>
        </p:spPr>
        <p:txBody>
          <a:bodyPr/>
          <a:lstStyle/>
          <a:p>
            <a:pPr algn="ctr"/>
            <a:r>
              <a:rPr lang="en-US"/>
              <a:t>Khyber Pakhtunkhwa </a:t>
            </a:r>
            <a:br>
              <a:rPr lang="en-US"/>
            </a:br>
            <a:r>
              <a:rPr lang="en-US"/>
              <a:t>Monsoon </a:t>
            </a:r>
            <a:r>
              <a:rPr lang="en-US" dirty="0"/>
              <a:t>2023 </a:t>
            </a:r>
            <a:r>
              <a:rPr lang="en-US"/>
              <a:t>Updates </a:t>
            </a:r>
            <a:br>
              <a:rPr lang="en-US"/>
            </a:br>
            <a:r>
              <a:rPr lang="en-US"/>
              <a:t>(</a:t>
            </a:r>
            <a:r>
              <a:rPr lang="en-US" dirty="0"/>
              <a:t>17</a:t>
            </a:r>
            <a:r>
              <a:rPr lang="en-US" baseline="30000" dirty="0"/>
              <a:t>th</a:t>
            </a:r>
            <a:r>
              <a:rPr lang="en-US" dirty="0"/>
              <a:t> July To Till Date)</a:t>
            </a:r>
          </a:p>
        </p:txBody>
      </p:sp>
    </p:spTree>
    <p:extLst>
      <p:ext uri="{BB962C8B-B14F-4D97-AF65-F5344CB8AC3E}">
        <p14:creationId xmlns:p14="http://schemas.microsoft.com/office/powerpoint/2010/main" val="3656400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7" y="103151"/>
            <a:ext cx="10160065" cy="726581"/>
          </a:xfrm>
        </p:spPr>
        <p:txBody>
          <a:bodyPr/>
          <a:lstStyle/>
          <a:p>
            <a:r>
              <a:rPr lang="en-US" dirty="0"/>
              <a:t>District Wise Damages to Human Settlements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99F9B9AE-EEA3-4B72-81BE-4916D74EDB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43233"/>
              </p:ext>
            </p:extLst>
          </p:nvPr>
        </p:nvGraphicFramePr>
        <p:xfrm>
          <a:off x="554735" y="1137953"/>
          <a:ext cx="11063523" cy="43660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479">
                  <a:extLst>
                    <a:ext uri="{9D8B030D-6E8A-4147-A177-3AD203B41FA5}">
                      <a16:colId xmlns:a16="http://schemas.microsoft.com/office/drawing/2014/main" val="3487623993"/>
                    </a:ext>
                  </a:extLst>
                </a:gridCol>
                <a:gridCol w="2257761">
                  <a:extLst>
                    <a:ext uri="{9D8B030D-6E8A-4147-A177-3AD203B41FA5}">
                      <a16:colId xmlns:a16="http://schemas.microsoft.com/office/drawing/2014/main" val="3497563549"/>
                    </a:ext>
                  </a:extLst>
                </a:gridCol>
                <a:gridCol w="2257761">
                  <a:extLst>
                    <a:ext uri="{9D8B030D-6E8A-4147-A177-3AD203B41FA5}">
                      <a16:colId xmlns:a16="http://schemas.microsoft.com/office/drawing/2014/main" val="619385580"/>
                    </a:ext>
                  </a:extLst>
                </a:gridCol>
                <a:gridCol w="2257761">
                  <a:extLst>
                    <a:ext uri="{9D8B030D-6E8A-4147-A177-3AD203B41FA5}">
                      <a16:colId xmlns:a16="http://schemas.microsoft.com/office/drawing/2014/main" val="59397371"/>
                    </a:ext>
                  </a:extLst>
                </a:gridCol>
                <a:gridCol w="2257761">
                  <a:extLst>
                    <a:ext uri="{9D8B030D-6E8A-4147-A177-3AD203B41FA5}">
                      <a16:colId xmlns:a16="http://schemas.microsoft.com/office/drawing/2014/main" val="242441586"/>
                    </a:ext>
                  </a:extLst>
                </a:gridCol>
              </a:tblGrid>
              <a:tr h="376603">
                <a:tc>
                  <a:txBody>
                    <a:bodyPr/>
                    <a:lstStyle/>
                    <a:p>
                      <a:pPr algn="l" fontAlgn="t"/>
                      <a:r>
                        <a:rPr lang="en-PK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 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strict</a:t>
                      </a:r>
                      <a:endParaRPr lang="en-PK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eath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Injur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attle Perish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otal Damaged Houses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20339794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itral Low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0931796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itral U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  <a:endParaRPr lang="en-PK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01507569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wa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8079450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ttagra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78844527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nsehr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62546287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rak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08212868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histan U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P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6204502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 Upp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36518649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angl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8134402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n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PK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27802321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rda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46896159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bottaba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20567862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lak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25287134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jau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23476161"/>
                  </a:ext>
                </a:extLst>
              </a:tr>
              <a:tr h="26596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en-PK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en-PK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  <a:endParaRPr lang="en-PK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  <a:endParaRPr lang="en-PK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75848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62853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25679-10E6-5803-8F37-F12496476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mages to Bridges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1EC435-007C-A8D9-DE84-EE0D2B367A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30DBCF1-B639-1D79-09D1-47D44C02F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421872"/>
              </p:ext>
            </p:extLst>
          </p:nvPr>
        </p:nvGraphicFramePr>
        <p:xfrm>
          <a:off x="554735" y="1490931"/>
          <a:ext cx="11086933" cy="1994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859">
                  <a:extLst>
                    <a:ext uri="{9D8B030D-6E8A-4147-A177-3AD203B41FA5}">
                      <a16:colId xmlns:a16="http://schemas.microsoft.com/office/drawing/2014/main" val="186301857"/>
                    </a:ext>
                  </a:extLst>
                </a:gridCol>
                <a:gridCol w="3609046">
                  <a:extLst>
                    <a:ext uri="{9D8B030D-6E8A-4147-A177-3AD203B41FA5}">
                      <a16:colId xmlns:a16="http://schemas.microsoft.com/office/drawing/2014/main" val="982222758"/>
                    </a:ext>
                  </a:extLst>
                </a:gridCol>
                <a:gridCol w="4264814">
                  <a:extLst>
                    <a:ext uri="{9D8B030D-6E8A-4147-A177-3AD203B41FA5}">
                      <a16:colId xmlns:a16="http://schemas.microsoft.com/office/drawing/2014/main" val="389123436"/>
                    </a:ext>
                  </a:extLst>
                </a:gridCol>
                <a:gridCol w="2724214">
                  <a:extLst>
                    <a:ext uri="{9D8B030D-6E8A-4147-A177-3AD203B41FA5}">
                      <a16:colId xmlns:a16="http://schemas.microsoft.com/office/drawing/2014/main" val="3131862742"/>
                    </a:ext>
                  </a:extLst>
                </a:gridCol>
              </a:tblGrid>
              <a:tr h="3243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S#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Distric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+mj-lt"/>
                        </a:rPr>
                        <a:t>No of Bridges Affect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rea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842035"/>
                  </a:ext>
                </a:extLst>
              </a:tr>
              <a:tr h="340352">
                <a:tc>
                  <a:txBody>
                    <a:bodyPr/>
                    <a:lstStyle/>
                    <a:p>
                      <a:pPr algn="ctr" fontAlgn="t"/>
                      <a:r>
                        <a:rPr lang="en-PK" sz="1400" u="none" strike="noStrike" dirty="0">
                          <a:effectLst/>
                          <a:latin typeface="+mj-lt"/>
                        </a:rPr>
                        <a:t>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u="none" strike="noStrike" dirty="0">
                          <a:effectLst/>
                          <a:latin typeface="+mj-lt"/>
                        </a:rPr>
                        <a:t>Chitral Lowe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ooni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Road at Kari RCC Bridge &amp; </a:t>
                      </a:r>
                      <a:r>
                        <a:rPr lang="en-US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ghuzi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RCC Bridge</a:t>
                      </a:r>
                      <a:endParaRPr lang="en-PK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49" marR="1849" marT="1849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72193493"/>
                  </a:ext>
                </a:extLst>
              </a:tr>
              <a:tr h="340352">
                <a:tc>
                  <a:txBody>
                    <a:bodyPr/>
                    <a:lstStyle/>
                    <a:p>
                      <a:pPr algn="ctr" fontAlgn="t"/>
                      <a:r>
                        <a:rPr lang="en-PK" sz="1400" u="none" strike="noStrike" dirty="0">
                          <a:effectLst/>
                          <a:latin typeface="+mj-lt"/>
                        </a:rPr>
                        <a:t>2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u="none" strike="noStrike" dirty="0">
                          <a:effectLst/>
                          <a:latin typeface="+mj-lt"/>
                        </a:rPr>
                        <a:t>Chitral Uppe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hahidas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Nullah</a:t>
                      </a:r>
                      <a:endParaRPr lang="en-PK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49" marR="1849" marT="1849" marB="0" anchor="ctr"/>
                </a:tc>
                <a:extLst>
                  <a:ext uri="{0D108BD9-81ED-4DB2-BD59-A6C34878D82A}">
                    <a16:rowId xmlns:a16="http://schemas.microsoft.com/office/drawing/2014/main" val="3248722313"/>
                  </a:ext>
                </a:extLst>
              </a:tr>
              <a:tr h="34035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ir Lower</a:t>
                      </a: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hamsi Khan,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lash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extLst>
                  <a:ext uri="{0D108BD9-81ED-4DB2-BD59-A6C34878D82A}">
                    <a16:rowId xmlns:a16="http://schemas.microsoft.com/office/drawing/2014/main" val="2755325577"/>
                  </a:ext>
                </a:extLst>
              </a:tr>
              <a:tr h="34035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wat</a:t>
                      </a: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1</a:t>
                      </a:r>
                      <a:endParaRPr lang="en-PK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inar Baba 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edestrian Bridge)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  <a:endParaRPr lang="en-PK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849" marR="1849" marT="1849" marB="0" anchor="ctr"/>
                </a:tc>
                <a:extLst>
                  <a:ext uri="{0D108BD9-81ED-4DB2-BD59-A6C34878D82A}">
                    <a16:rowId xmlns:a16="http://schemas.microsoft.com/office/drawing/2014/main" val="1153736869"/>
                  </a:ext>
                </a:extLst>
              </a:tr>
              <a:tr h="220208">
                <a:tc>
                  <a:txBody>
                    <a:bodyPr/>
                    <a:lstStyle/>
                    <a:p>
                      <a:pPr algn="ctr" fontAlgn="b"/>
                      <a:endParaRPr lang="en-PK" sz="14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5</a:t>
                      </a:r>
                      <a:endParaRPr lang="en-PK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PK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849" marR="1849" marT="1849" marB="0" anchor="ctr"/>
                </a:tc>
                <a:extLst>
                  <a:ext uri="{0D108BD9-81ED-4DB2-BD59-A6C34878D82A}">
                    <a16:rowId xmlns:a16="http://schemas.microsoft.com/office/drawing/2014/main" val="33133051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5860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25679-10E6-5803-8F37-F12496476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/ Drinking Water Supply Scheme (Chitral Lower)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1EC435-007C-A8D9-DE84-EE0D2B367A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0DF3F8-C40C-6DD5-75D9-5A77C28368B9}"/>
              </a:ext>
            </a:extLst>
          </p:cNvPr>
          <p:cNvSpPr txBox="1"/>
          <p:nvPr/>
        </p:nvSpPr>
        <p:spPr>
          <a:xfrm>
            <a:off x="554735" y="6556443"/>
            <a:ext cx="5700150" cy="19840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/>
              <a:t>Position on 31</a:t>
            </a:r>
            <a:r>
              <a:rPr lang="en-US" sz="1200" baseline="30000" dirty="0"/>
              <a:t>st</a:t>
            </a:r>
            <a:r>
              <a:rPr lang="en-US" sz="1200" dirty="0"/>
              <a:t> August 2022 10 PM</a:t>
            </a:r>
            <a:endParaRPr lang="en-PK" sz="1200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6F8B54F-3354-4415-B87A-B09874EC74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779099"/>
              </p:ext>
            </p:extLst>
          </p:nvPr>
        </p:nvGraphicFramePr>
        <p:xfrm>
          <a:off x="554735" y="999065"/>
          <a:ext cx="11082532" cy="58044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55791">
                  <a:extLst>
                    <a:ext uri="{9D8B030D-6E8A-4147-A177-3AD203B41FA5}">
                      <a16:colId xmlns:a16="http://schemas.microsoft.com/office/drawing/2014/main" val="3696635275"/>
                    </a:ext>
                  </a:extLst>
                </a:gridCol>
                <a:gridCol w="2355791">
                  <a:extLst>
                    <a:ext uri="{9D8B030D-6E8A-4147-A177-3AD203B41FA5}">
                      <a16:colId xmlns:a16="http://schemas.microsoft.com/office/drawing/2014/main" val="2684843446"/>
                    </a:ext>
                  </a:extLst>
                </a:gridCol>
                <a:gridCol w="1781745">
                  <a:extLst>
                    <a:ext uri="{9D8B030D-6E8A-4147-A177-3AD203B41FA5}">
                      <a16:colId xmlns:a16="http://schemas.microsoft.com/office/drawing/2014/main" val="4030319426"/>
                    </a:ext>
                  </a:extLst>
                </a:gridCol>
                <a:gridCol w="1781745">
                  <a:extLst>
                    <a:ext uri="{9D8B030D-6E8A-4147-A177-3AD203B41FA5}">
                      <a16:colId xmlns:a16="http://schemas.microsoft.com/office/drawing/2014/main" val="3475764074"/>
                    </a:ext>
                  </a:extLst>
                </a:gridCol>
                <a:gridCol w="2807460">
                  <a:extLst>
                    <a:ext uri="{9D8B030D-6E8A-4147-A177-3AD203B41FA5}">
                      <a16:colId xmlns:a16="http://schemas.microsoft.com/office/drawing/2014/main" val="1385675556"/>
                    </a:ext>
                  </a:extLst>
                </a:gridCol>
              </a:tblGrid>
              <a:tr h="2827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Occurrences of flood date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Area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Water Supply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Status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Present Status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extLst>
                  <a:ext uri="{0D108BD9-81ED-4DB2-BD59-A6C34878D82A}">
                    <a16:rowId xmlns:a16="http://schemas.microsoft.com/office/drawing/2014/main" val="29855155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 dirty="0">
                          <a:effectLst/>
                        </a:rPr>
                        <a:t>19-07-2023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Arandu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rowSpan="17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Temporarily restoration will be made subject to accessibility to the affected areas within 3-5 days.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extLst>
                  <a:ext uri="{0D108BD9-81ED-4DB2-BD59-A6C34878D82A}">
                    <a16:rowId xmlns:a16="http://schemas.microsoft.com/office/drawing/2014/main" val="113273704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 dirty="0">
                          <a:effectLst/>
                        </a:rPr>
                        <a:t>22-07-2023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Gahrait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6179616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Ayun 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9800010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Ayun Sahan Payeen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2607977"/>
                  </a:ext>
                </a:extLst>
              </a:tr>
              <a:tr h="41503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Ramboor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144102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Bamborait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922117"/>
                  </a:ext>
                </a:extLst>
              </a:tr>
              <a:tr h="46264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Bakamak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0499277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Uchusht Balasar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4952712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Balach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844066"/>
                  </a:ext>
                </a:extLst>
              </a:tr>
              <a:tr h="42878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Faiz Abad Hone , Faiz Abad Ph-1, Mustajapandeh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dirty="0">
                          <a:effectLst/>
                        </a:rPr>
                        <a:t>PHED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7068268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Danin 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2954880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Danin Lasht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8634121"/>
                  </a:ext>
                </a:extLst>
              </a:tr>
              <a:tr h="2827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Jugoor (Dawashish , Hinju gole , Shoot )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2937217"/>
                  </a:ext>
                </a:extLst>
              </a:tr>
              <a:tr h="1367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Chitral City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PHED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4754737"/>
                  </a:ext>
                </a:extLst>
              </a:tr>
              <a:tr h="6134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Uc Kuh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PK" sz="12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-do-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9854027"/>
                  </a:ext>
                </a:extLst>
              </a:tr>
              <a:tr h="6134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22-07-2023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Thingshan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PK" sz="12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-do-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5380261"/>
                  </a:ext>
                </a:extLst>
              </a:tr>
              <a:tr h="6134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dirty="0">
                          <a:effectLst/>
                        </a:rPr>
                        <a:t>22-07-2023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>
                          <a:effectLst/>
                        </a:rPr>
                        <a:t>Golain Payeen  Bakha and Chashma 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1</a:t>
                      </a:r>
                      <a:endParaRPr lang="en-PK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PK" sz="12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tabLst>
                          <a:tab pos="457200" algn="l"/>
                          <a:tab pos="914400" algn="l"/>
                          <a:tab pos="1371600" algn="l"/>
                          <a:tab pos="1828800" algn="l"/>
                          <a:tab pos="2286000" algn="l"/>
                          <a:tab pos="2743200" algn="l"/>
                          <a:tab pos="3200400" algn="l"/>
                          <a:tab pos="5943600" algn="r"/>
                        </a:tabLst>
                      </a:pPr>
                      <a:r>
                        <a:rPr lang="en-US" sz="1200" dirty="0">
                          <a:effectLst/>
                        </a:rPr>
                        <a:t>-do-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9367" marR="19367" marT="0" marB="0" anchor="ctr"/>
                </a:tc>
                <a:tc vMerge="1">
                  <a:txBody>
                    <a:bodyPr/>
                    <a:lstStyle/>
                    <a:p>
                      <a:endParaRPr lang="en-P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4476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7693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25679-10E6-5803-8F37-F12496476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ter/ Drinking Water Supply Scheme (Chitral Upper)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1EC435-007C-A8D9-DE84-EE0D2B367A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11DD896-F361-43C1-8D7E-D34816752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49500"/>
              </p:ext>
            </p:extLst>
          </p:nvPr>
        </p:nvGraphicFramePr>
        <p:xfrm>
          <a:off x="286328" y="1293096"/>
          <a:ext cx="10806545" cy="4476992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9026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8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97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735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9624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ate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rea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Water Supply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Status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sent Status</a:t>
                      </a:r>
                      <a:endParaRPr 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Shahida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GO Schem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</a:rPr>
                        <a:t>Water Supply to all the projects would temporarily be restored within 2-3 days after the availability access to the area and source positio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Parwak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Aw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iragram-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Gazeen</a:t>
                      </a:r>
                      <a:r>
                        <a:rPr lang="en-US" sz="1600" u="none" strike="noStrike" dirty="0">
                          <a:effectLst/>
                        </a:rPr>
                        <a:t> </a:t>
                      </a:r>
                      <a:r>
                        <a:rPr lang="en-US" sz="1600" u="none" strike="noStrike" dirty="0" err="1">
                          <a:effectLst/>
                        </a:rPr>
                        <a:t>Yarkhu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GO Schem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Bre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Zhupu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GO Schem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Nishku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Madak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Dhumadum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GO Schem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Werku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43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/07/20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err="1">
                          <a:effectLst/>
                        </a:rPr>
                        <a:t>Booni</a:t>
                      </a:r>
                      <a:r>
                        <a:rPr lang="en-US" sz="1600" u="none" strike="noStrike" dirty="0">
                          <a:effectLst/>
                        </a:rPr>
                        <a:t> 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PH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76192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48C51-57DD-D524-BFCE-5298E4E25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4D109-7379-41E5-EB6E-FB4D549BBA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C5B8922-57AA-90E3-CF9C-DCDBF89EFD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258045"/>
              </p:ext>
            </p:extLst>
          </p:nvPr>
        </p:nvGraphicFramePr>
        <p:xfrm>
          <a:off x="2032000" y="1857802"/>
          <a:ext cx="8128000" cy="3320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4017871934"/>
                    </a:ext>
                  </a:extLst>
                </a:gridCol>
              </a:tblGrid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Overview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7356219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Damages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945777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Response &amp; Relief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776991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Current Roads Situation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80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0077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e &amp; Relief Measures (1/2)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7846F2-5CFB-9C11-C2B5-949694DCECF8}"/>
              </a:ext>
            </a:extLst>
          </p:cNvPr>
          <p:cNvSpPr txBox="1"/>
          <p:nvPr/>
        </p:nvSpPr>
        <p:spPr>
          <a:xfrm>
            <a:off x="554735" y="1070042"/>
            <a:ext cx="10855810" cy="555935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Upon  requests received from Deputy Commissioner Chitral Upper And Lower, Emergency has been declared till 15th of August in both the districts.(</a:t>
            </a:r>
            <a:r>
              <a:rPr lang="en-US" sz="1400" dirty="0">
                <a:hlinkClick r:id="rId2" action="ppaction://hlinksldjump"/>
              </a:rPr>
              <a:t>Copy annexed</a:t>
            </a:r>
            <a:r>
              <a:rPr lang="en-US" sz="1400" dirty="0"/>
              <a:t>)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Sum of rupees 20 Million each has been released to district Chitral upper and lower and another 10 Million each to district Shangla and </a:t>
            </a:r>
            <a:r>
              <a:rPr lang="en-US" sz="1400" dirty="0" err="1"/>
              <a:t>Bannu</a:t>
            </a:r>
            <a:r>
              <a:rPr lang="en-US" sz="1400" dirty="0"/>
              <a:t>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Relief items (NFIs &amp; FIs) have been provided to the </a:t>
            </a:r>
            <a:r>
              <a:rPr lang="en-US" sz="1400" dirty="0" err="1"/>
              <a:t>affectees</a:t>
            </a:r>
            <a:endParaRPr lang="en-US" sz="1400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he vulnerable communities have been evacuated to safer places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Machineries Deployed for Early Restoration of Roads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Provincial Emergency Center of PDMA is operational 24/7 and active coordination with all line departments is established.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ll Deputy Commissioners have been directed to immediately pay off the compensation checks to the death and injured as per the revised compensation policy 2023. (</a:t>
            </a:r>
            <a:r>
              <a:rPr lang="en-US" sz="1400" dirty="0">
                <a:hlinkClick r:id="rId3" action="ppaction://hlinksldjump"/>
              </a:rPr>
              <a:t>Copy attached</a:t>
            </a:r>
            <a:r>
              <a:rPr lang="en-US" sz="1400" dirty="0"/>
              <a:t>).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Rescue 1122 Activiti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151 persons were rescued in Flood Affected Areas (</a:t>
            </a:r>
            <a:r>
              <a:rPr lang="en-US" sz="1400" dirty="0" err="1"/>
              <a:t>Denin</a:t>
            </a:r>
            <a:r>
              <a:rPr lang="en-US" sz="1400" dirty="0"/>
              <a:t>, </a:t>
            </a:r>
            <a:r>
              <a:rPr lang="en-US" sz="1400" dirty="0" err="1"/>
              <a:t>Nerdad</a:t>
            </a:r>
            <a:r>
              <a:rPr lang="en-US" sz="1400" dirty="0"/>
              <a:t> Gol, Kari, Ayun, </a:t>
            </a:r>
            <a:r>
              <a:rPr lang="en-US" sz="1400" dirty="0" err="1"/>
              <a:t>Singoor</a:t>
            </a:r>
            <a:r>
              <a:rPr lang="en-US" sz="1400" dirty="0"/>
              <a:t>, Khor </a:t>
            </a:r>
            <a:r>
              <a:rPr lang="en-US" sz="1400" dirty="0" err="1"/>
              <a:t>Kahsan</a:t>
            </a:r>
            <a:r>
              <a:rPr lang="en-US" sz="1400" dirty="0"/>
              <a:t>) in Chitral Lower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102 vehicles were saved from Flood Water at </a:t>
            </a:r>
            <a:r>
              <a:rPr lang="en-US" sz="1400" dirty="0" err="1"/>
              <a:t>Denin</a:t>
            </a:r>
            <a:endParaRPr lang="en-US" sz="1400" dirty="0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Drain out water from Power House </a:t>
            </a:r>
            <a:r>
              <a:rPr lang="en-US" sz="1400" dirty="0" err="1"/>
              <a:t>Singoor</a:t>
            </a:r>
            <a:r>
              <a:rPr lang="en-US" sz="1400" dirty="0"/>
              <a:t> and saved important item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lear the roads from Chew Bridge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Media Dissemination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Warning broadcasts through print &amp; electronic media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Coordination with all Relevant Stakeholder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Information sharing regarding Damages/ Losses &amp; Relief Activitie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400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400524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e &amp; Relief Measures (2/2)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7846F2-5CFB-9C11-C2B5-949694DCECF8}"/>
              </a:ext>
            </a:extLst>
          </p:cNvPr>
          <p:cNvSpPr txBox="1"/>
          <p:nvPr/>
        </p:nvSpPr>
        <p:spPr>
          <a:xfrm>
            <a:off x="554735" y="1070042"/>
            <a:ext cx="4025732" cy="524367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NFIs Dispatched to Chitral Upp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F61A31-F2E4-48F8-A7CD-A0D70F6784EA}"/>
              </a:ext>
            </a:extLst>
          </p:cNvPr>
          <p:cNvSpPr txBox="1"/>
          <p:nvPr/>
        </p:nvSpPr>
        <p:spPr>
          <a:xfrm>
            <a:off x="6689070" y="1098684"/>
            <a:ext cx="4283730" cy="524367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NFIs Dispatched to Chitral Lower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5170C0D-9590-4910-B147-0D82B950BE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542717"/>
              </p:ext>
            </p:extLst>
          </p:nvPr>
        </p:nvGraphicFramePr>
        <p:xfrm>
          <a:off x="858842" y="1368935"/>
          <a:ext cx="3526895" cy="50843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67182">
                  <a:extLst>
                    <a:ext uri="{9D8B030D-6E8A-4147-A177-3AD203B41FA5}">
                      <a16:colId xmlns:a16="http://schemas.microsoft.com/office/drawing/2014/main" val="4149023876"/>
                    </a:ext>
                  </a:extLst>
                </a:gridCol>
                <a:gridCol w="1859713">
                  <a:extLst>
                    <a:ext uri="{9D8B030D-6E8A-4147-A177-3AD203B41FA5}">
                      <a16:colId xmlns:a16="http://schemas.microsoft.com/office/drawing/2014/main" val="1845148833"/>
                    </a:ext>
                  </a:extLst>
                </a:gridCol>
              </a:tblGrid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n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dirty="0">
                          <a:effectLst/>
                        </a:rPr>
                        <a:t>150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849232423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stic Ma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4101329288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tchen se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703510390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cke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1385926763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il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210235267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tresse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350613563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paulin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2777899525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giene Ki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685615743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lar Ligh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4006368250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rry Can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4116011492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squito Ne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576329466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ap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4187791600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pe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1889491077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llow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1163600013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eel Chair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5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2334403200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etcher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5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538950163"/>
                  </a:ext>
                </a:extLst>
              </a:tr>
              <a:tr h="266771">
                <a:tc>
                  <a:txBody>
                    <a:bodyPr/>
                    <a:lstStyle/>
                    <a:p>
                      <a:pPr marL="274638" indent="-274638" algn="l">
                        <a:lnSpc>
                          <a:spcPct val="115000"/>
                        </a:lnSpc>
                      </a:pPr>
                      <a:r>
                        <a:rPr lang="en-US" sz="1200" dirty="0">
                          <a:effectLst/>
                        </a:rPr>
                        <a:t>De-Watering Pumps</a:t>
                      </a:r>
                      <a:endParaRPr lang="en-PK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2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3626346451"/>
                  </a:ext>
                </a:extLst>
              </a:tr>
              <a:tr h="274620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ayer Mat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2710580205"/>
                  </a:ext>
                </a:extLst>
              </a:tr>
              <a:tr h="274620">
                <a:tc>
                  <a:txBody>
                    <a:bodyPr/>
                    <a:lstStyle/>
                    <a:p>
                      <a:pPr marL="274638" indent="-274638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US" sz="12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nd Bags</a:t>
                      </a:r>
                      <a:endParaRPr lang="en-PK" sz="12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</a:t>
                      </a:r>
                      <a:endParaRPr lang="en-PK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9372" marR="29372" marT="0" marB="0"/>
                </a:tc>
                <a:extLst>
                  <a:ext uri="{0D108BD9-81ED-4DB2-BD59-A6C34878D82A}">
                    <a16:rowId xmlns:a16="http://schemas.microsoft.com/office/drawing/2014/main" val="4138709680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D5E3A37-5FE7-4339-9C41-E035FBB553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343076"/>
              </p:ext>
            </p:extLst>
          </p:nvPr>
        </p:nvGraphicFramePr>
        <p:xfrm>
          <a:off x="6992983" y="1489166"/>
          <a:ext cx="3596640" cy="14804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98320">
                  <a:extLst>
                    <a:ext uri="{9D8B030D-6E8A-4147-A177-3AD203B41FA5}">
                      <a16:colId xmlns:a16="http://schemas.microsoft.com/office/drawing/2014/main" val="1792167857"/>
                    </a:ext>
                  </a:extLst>
                </a:gridCol>
                <a:gridCol w="1798320">
                  <a:extLst>
                    <a:ext uri="{9D8B030D-6E8A-4147-A177-3AD203B41FA5}">
                      <a16:colId xmlns:a16="http://schemas.microsoft.com/office/drawing/2014/main" val="1587370816"/>
                    </a:ext>
                  </a:extLst>
                </a:gridCol>
              </a:tblGrid>
              <a:tr h="29609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UNHCR Tents</a:t>
                      </a:r>
                      <a:endParaRPr lang="en-PK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b="1">
                          <a:effectLst/>
                        </a:rPr>
                        <a:t>100</a:t>
                      </a:r>
                      <a:endParaRPr lang="en-PK" sz="105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extLst>
                  <a:ext uri="{0D108BD9-81ED-4DB2-BD59-A6C34878D82A}">
                    <a16:rowId xmlns:a16="http://schemas.microsoft.com/office/drawing/2014/main" val="2076499053"/>
                  </a:ext>
                </a:extLst>
              </a:tr>
              <a:tr h="29609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Sand Bags</a:t>
                      </a:r>
                      <a:endParaRPr lang="en-PK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b="1">
                          <a:effectLst/>
                        </a:rPr>
                        <a:t>5000</a:t>
                      </a:r>
                      <a:endParaRPr lang="en-PK" sz="105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extLst>
                  <a:ext uri="{0D108BD9-81ED-4DB2-BD59-A6C34878D82A}">
                    <a16:rowId xmlns:a16="http://schemas.microsoft.com/office/drawing/2014/main" val="1599386899"/>
                  </a:ext>
                </a:extLst>
              </a:tr>
              <a:tr h="29609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Search Light</a:t>
                      </a:r>
                      <a:endParaRPr lang="en-PK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b="1">
                          <a:effectLst/>
                        </a:rPr>
                        <a:t>200</a:t>
                      </a:r>
                      <a:endParaRPr lang="en-PK" sz="105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extLst>
                  <a:ext uri="{0D108BD9-81ED-4DB2-BD59-A6C34878D82A}">
                    <a16:rowId xmlns:a16="http://schemas.microsoft.com/office/drawing/2014/main" val="24992143"/>
                  </a:ext>
                </a:extLst>
              </a:tr>
              <a:tr h="29609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>
                          <a:effectLst/>
                        </a:rPr>
                        <a:t>Kitchen Sets</a:t>
                      </a:r>
                      <a:endParaRPr lang="en-PK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b="1" dirty="0">
                          <a:effectLst/>
                        </a:rPr>
                        <a:t>500</a:t>
                      </a:r>
                      <a:endParaRPr lang="en-PK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extLst>
                  <a:ext uri="{0D108BD9-81ED-4DB2-BD59-A6C34878D82A}">
                    <a16:rowId xmlns:a16="http://schemas.microsoft.com/office/drawing/2014/main" val="773338833"/>
                  </a:ext>
                </a:extLst>
              </a:tr>
              <a:tr h="29609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dirty="0">
                          <a:effectLst/>
                        </a:rPr>
                        <a:t>Common Tents</a:t>
                      </a:r>
                      <a:endParaRPr lang="en-PK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50" b="1" dirty="0">
                          <a:effectLst/>
                        </a:rPr>
                        <a:t>100</a:t>
                      </a:r>
                      <a:endParaRPr lang="en-PK" sz="105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28716" marR="28716" marT="0" marB="0"/>
                </a:tc>
                <a:extLst>
                  <a:ext uri="{0D108BD9-81ED-4DB2-BD59-A6C34878D82A}">
                    <a16:rowId xmlns:a16="http://schemas.microsoft.com/office/drawing/2014/main" val="16758454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00461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48C51-57DD-D524-BFCE-5298E4E25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4D109-7379-41E5-EB6E-FB4D549BBA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C5B8922-57AA-90E3-CF9C-DCDBF89EFD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7591499"/>
              </p:ext>
            </p:extLst>
          </p:nvPr>
        </p:nvGraphicFramePr>
        <p:xfrm>
          <a:off x="2032000" y="1857802"/>
          <a:ext cx="8128000" cy="3320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4017871934"/>
                    </a:ext>
                  </a:extLst>
                </a:gridCol>
              </a:tblGrid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Overview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7019405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Damages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945777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Response &amp; Relief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776991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Current Roads Situation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80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23615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Road Situation (Chitral Upper)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032FC6-DD8B-3CF5-11FE-639B440EACD7}"/>
              </a:ext>
            </a:extLst>
          </p:cNvPr>
          <p:cNvSpPr txBox="1"/>
          <p:nvPr/>
        </p:nvSpPr>
        <p:spPr>
          <a:xfrm>
            <a:off x="554735" y="1244599"/>
            <a:ext cx="10815998" cy="33547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dirty="0" err="1"/>
              <a:t>Brep</a:t>
            </a:r>
            <a:r>
              <a:rPr lang="en-US" dirty="0"/>
              <a:t> alternate restored, </a:t>
            </a:r>
            <a:r>
              <a:rPr lang="en-US" dirty="0" err="1"/>
              <a:t>Parkusep</a:t>
            </a:r>
            <a:r>
              <a:rPr lang="en-US" dirty="0"/>
              <a:t> Road, </a:t>
            </a:r>
            <a:r>
              <a:rPr lang="en-PK" dirty="0" err="1"/>
              <a:t>Parwak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 and  </a:t>
            </a:r>
            <a:r>
              <a:rPr lang="en-PK" dirty="0" err="1"/>
              <a:t>Rayeen</a:t>
            </a:r>
            <a:r>
              <a:rPr lang="en-PK" dirty="0"/>
              <a:t> to </a:t>
            </a:r>
            <a:r>
              <a:rPr lang="en-PK" dirty="0" err="1"/>
              <a:t>Kot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 are </a:t>
            </a:r>
            <a:r>
              <a:rPr lang="en-US" dirty="0"/>
              <a:t>opened</a:t>
            </a:r>
            <a:r>
              <a:rPr lang="en-PK" dirty="0"/>
              <a:t> at the moment in Upper Chitral.</a:t>
            </a:r>
            <a:r>
              <a:rPr lang="en-US" dirty="0"/>
              <a:t> </a:t>
            </a:r>
            <a:r>
              <a:rPr lang="en-PK" dirty="0"/>
              <a:t>The below given R</a:t>
            </a:r>
            <a:r>
              <a:rPr lang="en-US" dirty="0" err="1"/>
              <a:t>oa</a:t>
            </a:r>
            <a:r>
              <a:rPr lang="en-PK" dirty="0"/>
              <a:t>ds are still blocked</a:t>
            </a:r>
            <a:r>
              <a:rPr lang="en-US" dirty="0"/>
              <a:t>: -</a:t>
            </a:r>
          </a:p>
          <a:p>
            <a:endParaRPr lang="en-US" sz="1400" dirty="0"/>
          </a:p>
          <a:p>
            <a:pPr marL="342900" indent="-342900">
              <a:buAutoNum type="arabicPeriod"/>
            </a:pPr>
            <a:r>
              <a:rPr lang="en-PK" dirty="0" err="1"/>
              <a:t>Yarkhoon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 at </a:t>
            </a:r>
            <a:r>
              <a:rPr lang="en-PK" dirty="0" err="1"/>
              <a:t>Shanogol</a:t>
            </a:r>
            <a:r>
              <a:rPr lang="en-PK" dirty="0"/>
              <a:t>, Ch</a:t>
            </a:r>
            <a:r>
              <a:rPr lang="en-US" dirty="0"/>
              <a:t>u</a:t>
            </a:r>
            <a:r>
              <a:rPr lang="en-PK" dirty="0" err="1"/>
              <a:t>inj</a:t>
            </a:r>
            <a:r>
              <a:rPr lang="en-PK" dirty="0"/>
              <a:t> Bala, </a:t>
            </a:r>
            <a:r>
              <a:rPr lang="en-PK" dirty="0" err="1"/>
              <a:t>Pasum</a:t>
            </a:r>
            <a:r>
              <a:rPr lang="en-US" dirty="0"/>
              <a:t> G</a:t>
            </a:r>
            <a:r>
              <a:rPr lang="en-PK" dirty="0" err="1"/>
              <a:t>ol</a:t>
            </a:r>
            <a:endParaRPr lang="en-US" dirty="0"/>
          </a:p>
          <a:p>
            <a:pPr marL="342900" indent="-342900">
              <a:buAutoNum type="arabicPeriod"/>
            </a:pPr>
            <a:r>
              <a:rPr lang="en-PK" dirty="0" err="1"/>
              <a:t>Booni</a:t>
            </a:r>
            <a:r>
              <a:rPr lang="en-PK" dirty="0"/>
              <a:t> to Mastuj Main Bridge side walls damaged and R</a:t>
            </a:r>
            <a:r>
              <a:rPr lang="en-US" dirty="0" err="1"/>
              <a:t>oa</a:t>
            </a:r>
            <a:r>
              <a:rPr lang="en-PK" dirty="0"/>
              <a:t>d is closed.</a:t>
            </a:r>
            <a:endParaRPr lang="en-US" dirty="0"/>
          </a:p>
          <a:p>
            <a:pPr marL="342900" indent="-342900">
              <a:buAutoNum type="arabicPeriod"/>
            </a:pPr>
            <a:r>
              <a:rPr lang="en-PK" dirty="0" err="1"/>
              <a:t>Shahidas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 </a:t>
            </a:r>
            <a:endParaRPr lang="en-US" dirty="0"/>
          </a:p>
          <a:p>
            <a:pPr marL="342900" indent="-342900">
              <a:buAutoNum type="arabicPeriod"/>
            </a:pPr>
            <a:r>
              <a:rPr lang="en-PK" dirty="0" err="1"/>
              <a:t>Booni</a:t>
            </a:r>
            <a:r>
              <a:rPr lang="en-PK" dirty="0"/>
              <a:t> </a:t>
            </a:r>
            <a:r>
              <a:rPr lang="en-PK" dirty="0" err="1"/>
              <a:t>Sonoghur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</a:t>
            </a:r>
            <a:endParaRPr lang="en-US" dirty="0"/>
          </a:p>
          <a:p>
            <a:pPr marL="342900" indent="-342900">
              <a:buAutoNum type="arabicPeriod"/>
            </a:pPr>
            <a:r>
              <a:rPr lang="en-PK" dirty="0" err="1"/>
              <a:t>Nichagh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 at </a:t>
            </a:r>
            <a:r>
              <a:rPr lang="en-PK" dirty="0" err="1"/>
              <a:t>Gazeen</a:t>
            </a:r>
            <a:endParaRPr lang="en-US" dirty="0"/>
          </a:p>
          <a:p>
            <a:pPr marL="342900" indent="-342900">
              <a:buAutoNum type="arabicPeriod"/>
            </a:pPr>
            <a:r>
              <a:rPr lang="en-PK" dirty="0" err="1"/>
              <a:t>Yarkhoon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 at </a:t>
            </a:r>
            <a:r>
              <a:rPr lang="en-PK" dirty="0" err="1"/>
              <a:t>Shalkoach</a:t>
            </a:r>
            <a:r>
              <a:rPr lang="en-PK" dirty="0"/>
              <a:t>.</a:t>
            </a:r>
            <a:endParaRPr lang="en-US" dirty="0"/>
          </a:p>
          <a:p>
            <a:pPr marL="342900" indent="-342900">
              <a:buAutoNum type="arabicPeriod"/>
            </a:pPr>
            <a:r>
              <a:rPr lang="en-PK" dirty="0" err="1"/>
              <a:t>Khot</a:t>
            </a:r>
            <a:r>
              <a:rPr lang="en-PK" dirty="0"/>
              <a:t> R</a:t>
            </a:r>
            <a:r>
              <a:rPr lang="en-US" dirty="0" err="1"/>
              <a:t>oa</a:t>
            </a:r>
            <a:r>
              <a:rPr lang="en-PK" dirty="0"/>
              <a:t>d</a:t>
            </a:r>
            <a:endParaRPr lang="en-US" dirty="0"/>
          </a:p>
          <a:p>
            <a:endParaRPr lang="en-US" dirty="0"/>
          </a:p>
          <a:p>
            <a:r>
              <a:rPr lang="en-US" dirty="0"/>
              <a:t>Restoration work is in progress on the above mentioned areas</a:t>
            </a:r>
            <a:endParaRPr lang="en-PK" dirty="0"/>
          </a:p>
        </p:txBody>
      </p:sp>
    </p:spTree>
    <p:extLst>
      <p:ext uri="{BB962C8B-B14F-4D97-AF65-F5344CB8AC3E}">
        <p14:creationId xmlns:p14="http://schemas.microsoft.com/office/powerpoint/2010/main" val="32164728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urrent Road Situation (Chitral Lower)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B993D0A-D474-039B-7D70-474852B55244}"/>
              </a:ext>
            </a:extLst>
          </p:cNvPr>
          <p:cNvSpPr txBox="1">
            <a:spLocks/>
          </p:cNvSpPr>
          <p:nvPr/>
        </p:nvSpPr>
        <p:spPr>
          <a:xfrm>
            <a:off x="554734" y="1168695"/>
            <a:ext cx="11037497" cy="300471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Tx/>
              <a:buAutoNum type="arabicPeriod"/>
            </a:pPr>
            <a:r>
              <a:rPr lang="en-US" sz="1800" b="0" dirty="0" err="1"/>
              <a:t>Kaghuzi</a:t>
            </a:r>
            <a:r>
              <a:rPr lang="en-US" sz="1800" b="0" dirty="0"/>
              <a:t> Bridge work completed and Road is open. </a:t>
            </a:r>
          </a:p>
          <a:p>
            <a:pPr marL="342900" indent="-342900">
              <a:buFontTx/>
              <a:buAutoNum type="arabicPeriod"/>
            </a:pPr>
            <a:r>
              <a:rPr lang="en-US" sz="1800" b="0" dirty="0" err="1"/>
              <a:t>Danin</a:t>
            </a:r>
            <a:r>
              <a:rPr lang="en-US" sz="1800" b="0" dirty="0"/>
              <a:t> N45 Road cleared for traffic.</a:t>
            </a:r>
          </a:p>
          <a:p>
            <a:pPr marL="342900" indent="-342900">
              <a:buFontTx/>
              <a:buAutoNum type="arabicPeriod"/>
            </a:pPr>
            <a:r>
              <a:rPr lang="en-US" sz="1800" b="0" dirty="0" err="1"/>
              <a:t>Nerdait</a:t>
            </a:r>
            <a:r>
              <a:rPr lang="en-US" sz="1800" b="0" dirty="0"/>
              <a:t> Nullah Kari Bridge one side diversion completed.</a:t>
            </a:r>
          </a:p>
          <a:p>
            <a:pPr marL="342900" indent="-342900">
              <a:buFontTx/>
              <a:buAutoNum type="arabicPeriod"/>
            </a:pPr>
            <a:r>
              <a:rPr lang="en-US" sz="1800" b="0" dirty="0"/>
              <a:t>Debris clearance completed on km35 </a:t>
            </a:r>
            <a:r>
              <a:rPr lang="en-US" sz="1800" b="0" dirty="0" err="1"/>
              <a:t>Morai</a:t>
            </a:r>
            <a:r>
              <a:rPr lang="en-US" sz="1800" b="0" dirty="0"/>
              <a:t>, Chitral </a:t>
            </a:r>
            <a:r>
              <a:rPr lang="en-US" sz="1800" b="0" dirty="0" err="1"/>
              <a:t>Booni</a:t>
            </a:r>
            <a:r>
              <a:rPr lang="en-US" sz="1800" b="0" dirty="0"/>
              <a:t> Road.</a:t>
            </a:r>
          </a:p>
          <a:p>
            <a:pPr marL="342900" indent="-342900">
              <a:buFontTx/>
              <a:buAutoNum type="arabicPeriod"/>
            </a:pPr>
            <a:r>
              <a:rPr lang="en-US" sz="1800" b="0" dirty="0"/>
              <a:t>Road levelling and clearance is in progress N45 </a:t>
            </a:r>
            <a:r>
              <a:rPr lang="en-US" sz="1800" b="0" dirty="0" err="1"/>
              <a:t>Bardam</a:t>
            </a:r>
            <a:r>
              <a:rPr lang="en-US" sz="1800" b="0" dirty="0"/>
              <a:t> area</a:t>
            </a:r>
          </a:p>
          <a:p>
            <a:pPr marL="342900" indent="-342900">
              <a:buAutoNum type="arabicPeriod"/>
            </a:pPr>
            <a:r>
              <a:rPr lang="en-US" sz="1800" b="0" dirty="0"/>
              <a:t>Restoration work is in progress on </a:t>
            </a:r>
            <a:r>
              <a:rPr lang="en-US" sz="1800" b="0" dirty="0" err="1"/>
              <a:t>Danin</a:t>
            </a:r>
            <a:r>
              <a:rPr lang="en-US" sz="1800" b="0" dirty="0"/>
              <a:t> </a:t>
            </a:r>
            <a:r>
              <a:rPr lang="en-US" sz="1800" b="0" dirty="0" err="1"/>
              <a:t>Gahtak</a:t>
            </a:r>
            <a:r>
              <a:rPr lang="en-US" sz="1800" b="0" dirty="0"/>
              <a:t> road.</a:t>
            </a:r>
          </a:p>
          <a:p>
            <a:pPr marL="342900" indent="-342900">
              <a:buAutoNum type="arabicPeriod"/>
            </a:pPr>
            <a:r>
              <a:rPr lang="en-US" sz="1800" b="0" dirty="0"/>
              <a:t>Work is in progress on </a:t>
            </a:r>
            <a:r>
              <a:rPr lang="en-US" sz="1800" b="0" dirty="0" err="1"/>
              <a:t>Madaklasht</a:t>
            </a:r>
            <a:r>
              <a:rPr lang="en-US" sz="1800" b="0" dirty="0"/>
              <a:t> road at </a:t>
            </a:r>
            <a:r>
              <a:rPr lang="en-US" sz="1800" b="0" dirty="0" err="1"/>
              <a:t>patigal</a:t>
            </a:r>
            <a:endParaRPr lang="en-US" sz="1800" b="0" dirty="0"/>
          </a:p>
          <a:p>
            <a:pPr marL="342900" indent="-342900">
              <a:buAutoNum type="arabicPeriod"/>
            </a:pPr>
            <a:r>
              <a:rPr lang="en-US" sz="1800" b="0" dirty="0" err="1"/>
              <a:t>Golain</a:t>
            </a:r>
            <a:r>
              <a:rPr lang="en-US" sz="1800" b="0" dirty="0"/>
              <a:t> Road machinery mobilized by </a:t>
            </a:r>
            <a:r>
              <a:rPr lang="en-US" sz="1800" b="0" dirty="0" err="1"/>
              <a:t>Golain</a:t>
            </a:r>
            <a:r>
              <a:rPr lang="en-US" sz="1800" b="0" dirty="0"/>
              <a:t> Gol Authorities for road clearance.</a:t>
            </a:r>
          </a:p>
          <a:p>
            <a:pPr marL="342900" indent="-342900">
              <a:buAutoNum type="arabicPeriod"/>
            </a:pPr>
            <a:r>
              <a:rPr lang="en-US" sz="1800" b="0" dirty="0"/>
              <a:t>Work in progress on </a:t>
            </a:r>
            <a:r>
              <a:rPr lang="en-US" sz="1800" b="0" dirty="0" err="1"/>
              <a:t>Asrait</a:t>
            </a:r>
            <a:r>
              <a:rPr lang="en-US" sz="1800" b="0" dirty="0"/>
              <a:t> N45 Road.</a:t>
            </a:r>
          </a:p>
          <a:p>
            <a:pPr marL="342900" indent="-342900">
              <a:buAutoNum type="arabicPeriod"/>
            </a:pPr>
            <a:r>
              <a:rPr lang="en-US" sz="1800" b="0" dirty="0"/>
              <a:t>Garam </a:t>
            </a:r>
            <a:r>
              <a:rPr lang="en-US" sz="1800" b="0" dirty="0" err="1"/>
              <a:t>Chashma</a:t>
            </a:r>
            <a:r>
              <a:rPr lang="en-US" sz="1800" b="0" dirty="0"/>
              <a:t> Road</a:t>
            </a:r>
          </a:p>
          <a:p>
            <a:pPr marL="342900" indent="-342900">
              <a:buAutoNum type="arabicPeriod"/>
            </a:pPr>
            <a:r>
              <a:rPr lang="en-US" sz="1800" b="0" dirty="0"/>
              <a:t>Clearance work is in progress on Main Mastuj Road to upper Chitral </a:t>
            </a:r>
          </a:p>
        </p:txBody>
      </p:sp>
    </p:spTree>
    <p:extLst>
      <p:ext uri="{BB962C8B-B14F-4D97-AF65-F5344CB8AC3E}">
        <p14:creationId xmlns:p14="http://schemas.microsoft.com/office/powerpoint/2010/main" val="2400124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48C51-57DD-D524-BFCE-5298E4E25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4D109-7379-41E5-EB6E-FB4D549BBA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C5B8922-57AA-90E3-CF9C-DCDBF89EFD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1653086"/>
              </p:ext>
            </p:extLst>
          </p:nvPr>
        </p:nvGraphicFramePr>
        <p:xfrm>
          <a:off x="2032000" y="1857802"/>
          <a:ext cx="8128000" cy="3320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4017871934"/>
                    </a:ext>
                  </a:extLst>
                </a:gridCol>
              </a:tblGrid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Overview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7163407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Damages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945777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Response &amp; Relief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776991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Current Roads Situation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80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15401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oad Situation in Swat &amp; </a:t>
            </a:r>
            <a:r>
              <a:rPr lang="en-US" sz="2400" dirty="0" err="1"/>
              <a:t>Battagram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254727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400" b="0" dirty="0"/>
          </a:p>
          <a:p>
            <a:endParaRPr lang="en-US" sz="1400" b="0" dirty="0"/>
          </a:p>
          <a:p>
            <a:r>
              <a:rPr lang="en-US" sz="1800" dirty="0"/>
              <a:t>Swat:</a:t>
            </a:r>
          </a:p>
          <a:p>
            <a:r>
              <a:rPr lang="en-US" sz="1800" b="0" dirty="0"/>
              <a:t>Main road of </a:t>
            </a:r>
            <a:r>
              <a:rPr lang="en-US" sz="1800" b="0" dirty="0" err="1"/>
              <a:t>Chamtalai</a:t>
            </a:r>
            <a:r>
              <a:rPr lang="en-US" sz="1800" b="0" dirty="0"/>
              <a:t> </a:t>
            </a:r>
            <a:r>
              <a:rPr lang="en-US" sz="1800" b="0" dirty="0" err="1"/>
              <a:t>Khwazakhela</a:t>
            </a:r>
            <a:r>
              <a:rPr lang="en-US" sz="1800" b="0" dirty="0"/>
              <a:t> has been partially damaged. (Restoration work is in progress)</a:t>
            </a:r>
          </a:p>
          <a:p>
            <a:endParaRPr lang="en-US" sz="1800" b="0" dirty="0"/>
          </a:p>
          <a:p>
            <a:r>
              <a:rPr lang="en-US" sz="1800" dirty="0" err="1"/>
              <a:t>Battagram</a:t>
            </a:r>
            <a:r>
              <a:rPr lang="en-US" sz="1800" dirty="0"/>
              <a:t>:</a:t>
            </a:r>
          </a:p>
          <a:p>
            <a:r>
              <a:rPr lang="en-US" sz="1800" b="0" dirty="0"/>
              <a:t>The following roads are blocked due to a landslide:</a:t>
            </a:r>
          </a:p>
          <a:p>
            <a:r>
              <a:rPr lang="en-US" sz="1800" b="0" dirty="0"/>
              <a:t>1. Main </a:t>
            </a:r>
            <a:r>
              <a:rPr lang="en-US" sz="1800" b="0" dirty="0" err="1"/>
              <a:t>Sachbyar</a:t>
            </a:r>
            <a:r>
              <a:rPr lang="en-US" sz="1800" b="0" dirty="0"/>
              <a:t> Road.</a:t>
            </a:r>
          </a:p>
          <a:p>
            <a:r>
              <a:rPr lang="en-US" sz="1800" b="0" dirty="0"/>
              <a:t>2. </a:t>
            </a:r>
            <a:r>
              <a:rPr lang="en-US" sz="1800" b="0" dirty="0" err="1"/>
              <a:t>Thakot</a:t>
            </a:r>
            <a:r>
              <a:rPr lang="en-US" sz="1800" b="0" dirty="0"/>
              <a:t> Banna Road.</a:t>
            </a:r>
          </a:p>
          <a:p>
            <a:endParaRPr lang="en-US" sz="1800" b="0" dirty="0"/>
          </a:p>
          <a:p>
            <a:r>
              <a:rPr lang="en-US" sz="1800" b="0" dirty="0"/>
              <a:t>Restoration work is in progress</a:t>
            </a:r>
          </a:p>
        </p:txBody>
      </p:sp>
    </p:spTree>
    <p:extLst>
      <p:ext uri="{BB962C8B-B14F-4D97-AF65-F5344CB8AC3E}">
        <p14:creationId xmlns:p14="http://schemas.microsoft.com/office/powerpoint/2010/main" val="40762050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3A2FC-0FBC-10B3-0F29-FE8D64B18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orial View 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B6E501-6319-74F0-BA62-D92A66B88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CCE2FB-AD5A-444F-816A-3D8EE78114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237" y="4461164"/>
            <a:ext cx="5973574" cy="22603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600AE36-2F96-4B2D-8034-CC5FF64FE2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88" y="4461164"/>
            <a:ext cx="5883693" cy="22603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ED2629D-4092-4A78-9D98-6B00B82430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236" y="1615650"/>
            <a:ext cx="5973574" cy="27716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91AE5D-5DB7-4D1D-8E94-72EB4E13B8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89" y="1615650"/>
            <a:ext cx="5883693" cy="277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3299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3A2FC-0FBC-10B3-0F29-FE8D64B18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orial 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B6E501-6319-74F0-BA62-D92A66B88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CBFF17-6C90-4DDF-B243-A3087FA55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3" y="3986246"/>
            <a:ext cx="2057401" cy="27432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E77A7F6-5DA0-4705-855A-2DA591E789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0" y="1077382"/>
            <a:ext cx="4326467" cy="274610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DC6BA21-3AF7-4E1B-B807-C2E62FCE23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2650" y="1092200"/>
            <a:ext cx="6096000" cy="2743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837B7FF-1C7E-4893-9C00-BD0B02510E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400" y="3967691"/>
            <a:ext cx="3677356" cy="275801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A1DE078-81E1-41CB-A412-B40E123A02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89" y="4083131"/>
            <a:ext cx="5204646" cy="2342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738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3A2FC-0FBC-10B3-0F29-FE8D64B18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orial View 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B6E501-6319-74F0-BA62-D92A66B88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8" name="Picture 7" descr="A group of people standing next to a red truck&#10;&#10;Description automatically generated">
            <a:extLst>
              <a:ext uri="{FF2B5EF4-FFF2-40B4-BE49-F238E27FC236}">
                <a16:creationId xmlns:a16="http://schemas.microsoft.com/office/drawing/2014/main" id="{215F1060-BE3D-48B1-B37B-DA516E580F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486" y="1074240"/>
            <a:ext cx="4497661" cy="5647234"/>
          </a:xfrm>
          <a:prstGeom prst="rect">
            <a:avLst/>
          </a:prstGeom>
        </p:spPr>
      </p:pic>
      <p:pic>
        <p:nvPicPr>
          <p:cNvPr id="9" name="Picture 8" descr="A group of men standing outside&#10;&#10;Description automatically generated">
            <a:extLst>
              <a:ext uri="{FF2B5EF4-FFF2-40B4-BE49-F238E27FC236}">
                <a16:creationId xmlns:a16="http://schemas.microsoft.com/office/drawing/2014/main" id="{4C762B1F-700F-419E-9CCE-B060E9AEF6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343" y="1074241"/>
            <a:ext cx="3701143" cy="5647234"/>
          </a:xfrm>
          <a:prstGeom prst="rect">
            <a:avLst/>
          </a:prstGeom>
        </p:spPr>
      </p:pic>
      <p:pic>
        <p:nvPicPr>
          <p:cNvPr id="10" name="Picture 9" descr="A group of people outside&#10;&#10;Description automatically generated">
            <a:extLst>
              <a:ext uri="{FF2B5EF4-FFF2-40B4-BE49-F238E27FC236}">
                <a16:creationId xmlns:a16="http://schemas.microsoft.com/office/drawing/2014/main" id="{1318CF62-24CE-4D03-89BE-FC47FA5337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3" y="1074241"/>
            <a:ext cx="3815490" cy="564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7689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3A2FC-0FBC-10B3-0F29-FE8D64B18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ictorial 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B6E501-6319-74F0-BA62-D92A66B88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0BC79B8-4087-45CB-8A81-B64F80D3147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486" y="1074240"/>
            <a:ext cx="4497661" cy="564723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30CB13B-8F3B-4167-A9A4-0C26A0DFDD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343" y="1074240"/>
            <a:ext cx="3701143" cy="564723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6E3211-436C-4191-ADDB-C45A390EF9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03" y="1074241"/>
            <a:ext cx="3704040" cy="564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7671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7600" y="2372217"/>
            <a:ext cx="8657402" cy="2208249"/>
          </a:xfrm>
        </p:spPr>
        <p:txBody>
          <a:bodyPr/>
          <a:lstStyle/>
          <a:p>
            <a:r>
              <a:rPr lang="en-US" sz="16600" dirty="0">
                <a:solidFill>
                  <a:schemeClr val="accent3">
                    <a:lumMod val="75000"/>
                  </a:schemeClr>
                </a:solidFill>
              </a:rPr>
              <a:t>Thanks</a:t>
            </a:r>
            <a:endParaRPr lang="en-PK" sz="24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</p:spTree>
    <p:extLst>
      <p:ext uri="{BB962C8B-B14F-4D97-AF65-F5344CB8AC3E}">
        <p14:creationId xmlns:p14="http://schemas.microsoft.com/office/powerpoint/2010/main" val="1111613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MA Advisory (11</a:t>
            </a:r>
            <a:r>
              <a:rPr lang="en-US" sz="2400" baseline="30000" dirty="0"/>
              <a:t>th</a:t>
            </a:r>
            <a:r>
              <a:rPr lang="en-US" sz="2400" dirty="0"/>
              <a:t> July)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86498C-FD17-4FCE-A701-3BCF87909E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7837" y="1111227"/>
            <a:ext cx="3418163" cy="54778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95224D-EF89-4D19-A459-24FF94AE29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3499" y="1083841"/>
            <a:ext cx="3744772" cy="5532598"/>
          </a:xfrm>
          <a:prstGeom prst="rect">
            <a:avLst/>
          </a:prstGeom>
        </p:spPr>
      </p:pic>
      <p:sp>
        <p:nvSpPr>
          <p:cNvPr id="9" name="Arrow: Pentagon 8">
            <a:extLst>
              <a:ext uri="{FF2B5EF4-FFF2-40B4-BE49-F238E27FC236}">
                <a16:creationId xmlns:a16="http://schemas.microsoft.com/office/drawing/2014/main" id="{7750F595-84BE-44E4-8C12-4A974256245C}"/>
              </a:ext>
            </a:extLst>
          </p:cNvPr>
          <p:cNvSpPr/>
          <p:nvPr/>
        </p:nvSpPr>
        <p:spPr>
          <a:xfrm flipH="1">
            <a:off x="10895769" y="1083841"/>
            <a:ext cx="741495" cy="22849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  <a:hlinkClick r:id="rId4" action="ppaction://hlinksldjump"/>
              </a:rPr>
              <a:t>Back</a:t>
            </a:r>
            <a:endParaRPr lang="en-PK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8827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MA Advisory (17</a:t>
            </a:r>
            <a:r>
              <a:rPr lang="en-US" sz="2400" baseline="30000" dirty="0"/>
              <a:t>th</a:t>
            </a:r>
            <a:r>
              <a:rPr lang="en-US" sz="2400" dirty="0"/>
              <a:t> July)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4AC1A3-1E1F-4414-8B81-8EA229CF78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6533" y="1029186"/>
            <a:ext cx="3519417" cy="55748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6280705-48D8-409E-ACD2-A591143592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9685" y="980539"/>
            <a:ext cx="4177710" cy="5672108"/>
          </a:xfrm>
          <a:prstGeom prst="rect">
            <a:avLst/>
          </a:prstGeom>
        </p:spPr>
      </p:pic>
      <p:sp>
        <p:nvSpPr>
          <p:cNvPr id="9" name="Arrow: Pentagon 8">
            <a:extLst>
              <a:ext uri="{FF2B5EF4-FFF2-40B4-BE49-F238E27FC236}">
                <a16:creationId xmlns:a16="http://schemas.microsoft.com/office/drawing/2014/main" id="{B69C5132-BFA0-4564-8E52-A65FD0AB0F1A}"/>
              </a:ext>
            </a:extLst>
          </p:cNvPr>
          <p:cNvSpPr/>
          <p:nvPr/>
        </p:nvSpPr>
        <p:spPr>
          <a:xfrm flipH="1">
            <a:off x="10895769" y="1083841"/>
            <a:ext cx="741495" cy="22849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  <a:hlinkClick r:id="rId4" action="ppaction://hlinksldjump"/>
              </a:rPr>
              <a:t>Back</a:t>
            </a:r>
            <a:endParaRPr lang="en-PK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44719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MA Advisory (19</a:t>
            </a:r>
            <a:r>
              <a:rPr lang="en-US" sz="2400" baseline="30000" dirty="0"/>
              <a:t>th</a:t>
            </a:r>
            <a:r>
              <a:rPr lang="en-US" sz="2400" dirty="0"/>
              <a:t> July)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CCD9FA-7C05-4994-BDAF-70C1EF78F3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7200" y="1069829"/>
            <a:ext cx="3479010" cy="56850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801BB-3697-44C2-B5F0-70DFFEBB1C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4749" y="1876702"/>
            <a:ext cx="4124901" cy="3629532"/>
          </a:xfrm>
          <a:prstGeom prst="rect">
            <a:avLst/>
          </a:prstGeom>
        </p:spPr>
      </p:pic>
      <p:sp>
        <p:nvSpPr>
          <p:cNvPr id="9" name="Arrow: Pentagon 8">
            <a:extLst>
              <a:ext uri="{FF2B5EF4-FFF2-40B4-BE49-F238E27FC236}">
                <a16:creationId xmlns:a16="http://schemas.microsoft.com/office/drawing/2014/main" id="{9D8CCFF5-DD77-4FF0-8622-68AFC47E163A}"/>
              </a:ext>
            </a:extLst>
          </p:cNvPr>
          <p:cNvSpPr/>
          <p:nvPr/>
        </p:nvSpPr>
        <p:spPr>
          <a:xfrm flipH="1">
            <a:off x="10895769" y="1083841"/>
            <a:ext cx="741495" cy="22849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  <a:hlinkClick r:id="rId4" action="ppaction://hlinksldjump"/>
              </a:rPr>
              <a:t>Back</a:t>
            </a:r>
            <a:endParaRPr lang="en-PK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2711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MA Advisory (21</a:t>
            </a:r>
            <a:r>
              <a:rPr lang="en-US" sz="2400" baseline="30000" dirty="0"/>
              <a:t>st</a:t>
            </a:r>
            <a:r>
              <a:rPr lang="en-US" sz="2400" dirty="0"/>
              <a:t> July)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9AC0B6-C58D-4359-A5B2-9ED903B305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3400" y="1168696"/>
            <a:ext cx="3441694" cy="53922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F661035-50EC-4624-A2E7-5BD4C2BF22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0707" y="1058022"/>
            <a:ext cx="3899200" cy="5613572"/>
          </a:xfrm>
          <a:prstGeom prst="rect">
            <a:avLst/>
          </a:prstGeom>
        </p:spPr>
      </p:pic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781CE1EC-8996-42E0-9FE4-75F48A7DF8BC}"/>
              </a:ext>
            </a:extLst>
          </p:cNvPr>
          <p:cNvSpPr/>
          <p:nvPr/>
        </p:nvSpPr>
        <p:spPr>
          <a:xfrm flipH="1">
            <a:off x="10895769" y="1083841"/>
            <a:ext cx="741495" cy="22849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  <a:hlinkClick r:id="rId4" action="ppaction://hlinksldjump"/>
              </a:rPr>
              <a:t>Back</a:t>
            </a:r>
            <a:endParaRPr lang="en-PK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631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48C51-57DD-D524-BFCE-5298E4E25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4D109-7379-41E5-EB6E-FB4D549BBA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C5B8922-57AA-90E3-CF9C-DCDBF89EFD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070149"/>
              </p:ext>
            </p:extLst>
          </p:nvPr>
        </p:nvGraphicFramePr>
        <p:xfrm>
          <a:off x="2032000" y="1857802"/>
          <a:ext cx="8128000" cy="3320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4017871934"/>
                    </a:ext>
                  </a:extLst>
                </a:gridCol>
              </a:tblGrid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Overview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789299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mages</a:t>
                      </a:r>
                      <a:endParaRPr lang="en-PK" sz="2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945777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Response &amp; Relief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776991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Current Roads Situation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80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71091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mergency Notification in District Chitral (Lower &amp; Upper)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781CE1EC-8996-42E0-9FE4-75F48A7DF8BC}"/>
              </a:ext>
            </a:extLst>
          </p:cNvPr>
          <p:cNvSpPr/>
          <p:nvPr/>
        </p:nvSpPr>
        <p:spPr>
          <a:xfrm flipH="1">
            <a:off x="10895769" y="1083841"/>
            <a:ext cx="741495" cy="22849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  <a:hlinkClick r:id="rId2" action="ppaction://hlinksldjump"/>
              </a:rPr>
              <a:t>Back</a:t>
            </a:r>
            <a:endParaRPr lang="en-PK" sz="1600" dirty="0" err="1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9830C4-FC03-4A83-962B-CFC0DC4F8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8073" y="1052201"/>
            <a:ext cx="4147521" cy="580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8250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DMA Revised Compensation Policy 2023</a:t>
            </a:r>
            <a:endParaRPr lang="en-PK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BA7279D-E963-29F3-BD54-EA51387C1497}"/>
              </a:ext>
            </a:extLst>
          </p:cNvPr>
          <p:cNvSpPr txBox="1">
            <a:spLocks/>
          </p:cNvSpPr>
          <p:nvPr/>
        </p:nvSpPr>
        <p:spPr>
          <a:xfrm>
            <a:off x="554735" y="1168696"/>
            <a:ext cx="10160065" cy="19978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endParaRPr lang="en-US" sz="1400" b="0" dirty="0"/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781CE1EC-8996-42E0-9FE4-75F48A7DF8BC}"/>
              </a:ext>
            </a:extLst>
          </p:cNvPr>
          <p:cNvSpPr/>
          <p:nvPr/>
        </p:nvSpPr>
        <p:spPr>
          <a:xfrm flipH="1">
            <a:off x="10895769" y="1083841"/>
            <a:ext cx="741495" cy="22849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dirty="0">
                <a:solidFill>
                  <a:schemeClr val="bg1"/>
                </a:solidFill>
                <a:hlinkClick r:id="rId2" action="ppaction://hlinksldjump"/>
              </a:rPr>
              <a:t>Back</a:t>
            </a:r>
            <a:endParaRPr lang="en-PK" sz="1600" dirty="0" err="1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44C3A1-6034-40F9-9A44-56B41417BE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8866" y="1083841"/>
            <a:ext cx="3909998" cy="557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592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7846F2-5CFB-9C11-C2B5-949694DCECF8}"/>
              </a:ext>
            </a:extLst>
          </p:cNvPr>
          <p:cNvSpPr txBox="1"/>
          <p:nvPr/>
        </p:nvSpPr>
        <p:spPr>
          <a:xfrm>
            <a:off x="554735" y="1070042"/>
            <a:ext cx="10855810" cy="524367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/>
              <a:t>Districts of Chitral Upper &amp; Lower in particular and Districts Dir Upper &amp; Lower experienced increased torrential rainfall w/e from 17</a:t>
            </a:r>
            <a:r>
              <a:rPr lang="en-US" baseline="30000" dirty="0"/>
              <a:t>th</a:t>
            </a:r>
            <a:r>
              <a:rPr lang="en-US" dirty="0"/>
              <a:t> July to 23</a:t>
            </a:r>
            <a:r>
              <a:rPr lang="en-US" baseline="30000" dirty="0"/>
              <a:t>rd</a:t>
            </a:r>
            <a:r>
              <a:rPr lang="en-US" dirty="0"/>
              <a:t> July, 2023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/>
              <a:t>As a result, parts of Upper Chitral were disconnected from rest of Khyber Pakhtunkhwa at (Kari &amp; </a:t>
            </a:r>
            <a:r>
              <a:rPr lang="en-US" dirty="0" err="1"/>
              <a:t>Koghuzi</a:t>
            </a:r>
            <a:r>
              <a:rPr lang="en-US" dirty="0"/>
              <a:t>) and from Gilgit Baltistan at (</a:t>
            </a:r>
            <a:r>
              <a:rPr lang="en-US" dirty="0" err="1"/>
              <a:t>Shahidas</a:t>
            </a:r>
            <a:r>
              <a:rPr lang="en-US" dirty="0"/>
              <a:t>) due to washed away of RCC Bridges, leaving 170,000 (approx.) population stranded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rlier PDMA has issued a series of advisories dated (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2" action="ppaction://hlinksldjump"/>
              </a:rPr>
              <a:t>11</a:t>
            </a:r>
            <a:r>
              <a:rPr lang="en-US" sz="18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2" action="ppaction://hlinksldjump"/>
              </a:rPr>
              <a:t>t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2" action="ppaction://hlinksldjump"/>
              </a:rPr>
              <a:t> July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 action="ppaction://hlinksldjump"/>
              </a:rPr>
              <a:t>17</a:t>
            </a:r>
            <a:r>
              <a:rPr lang="en-US" sz="18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 action="ppaction://hlinksldjump"/>
              </a:rPr>
              <a:t>t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 action="ppaction://hlinksldjump"/>
              </a:rPr>
              <a:t> July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 action="ppaction://hlinksldjump"/>
              </a:rPr>
              <a:t>19</a:t>
            </a:r>
            <a:r>
              <a:rPr lang="en-US" sz="18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 action="ppaction://hlinksldjump"/>
              </a:rPr>
              <a:t>th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 action="ppaction://hlinksldjump"/>
              </a:rPr>
              <a:t> July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&amp; 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 action="ppaction://hlinksldjump"/>
              </a:rPr>
              <a:t>21</a:t>
            </a:r>
            <a:r>
              <a:rPr lang="en-US" sz="18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 action="ppaction://hlinksldjump"/>
              </a:rPr>
              <a:t>st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 action="ppaction://hlinksldjump"/>
              </a:rPr>
              <a:t> July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copies attached cautioning the relevant District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ministration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population concerned to adopt safety measures before and during the inclement weather.</a:t>
            </a:r>
            <a:endParaRPr lang="en-P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990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3087AF0-ED8E-4E7A-88DF-342E0CD54D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2378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CA37E8-FE9E-4294-9CC4-3DE90573FD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198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ACF10D-F28D-46CA-9A32-BC28298716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461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C48C51-57DD-D524-BFCE-5298E4E25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74D109-7379-41E5-EB6E-FB4D549BBA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4C5B8922-57AA-90E3-CF9C-DCDBF89EFD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568207"/>
              </p:ext>
            </p:extLst>
          </p:nvPr>
        </p:nvGraphicFramePr>
        <p:xfrm>
          <a:off x="2032000" y="1857802"/>
          <a:ext cx="8128000" cy="3320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>
                  <a:extLst>
                    <a:ext uri="{9D8B030D-6E8A-4147-A177-3AD203B41FA5}">
                      <a16:colId xmlns:a16="http://schemas.microsoft.com/office/drawing/2014/main" val="4017871934"/>
                    </a:ext>
                  </a:extLst>
                </a:gridCol>
              </a:tblGrid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Overview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789299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mages</a:t>
                      </a:r>
                      <a:endParaRPr lang="en-PK" sz="2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3945777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Response &amp; Relief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776991"/>
                  </a:ext>
                </a:extLst>
              </a:tr>
              <a:tr h="830154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Current Roads Situation</a:t>
                      </a:r>
                      <a:endParaRPr lang="en-PK" sz="2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80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11316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6F401-F976-EB58-8C5B-F19BA8A4E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mages Overview</a:t>
            </a:r>
            <a:endParaRPr lang="en-P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B9D3FD-3C65-FEB9-1A84-6B15198F8B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PK"/>
          </a:p>
        </p:txBody>
      </p: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B29C10D7-12BE-D9CB-B1BE-CAAC7F6FA1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11660"/>
              </p:ext>
            </p:extLst>
          </p:nvPr>
        </p:nvGraphicFramePr>
        <p:xfrm>
          <a:off x="756925" y="1238350"/>
          <a:ext cx="10766208" cy="46246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383104">
                  <a:extLst>
                    <a:ext uri="{9D8B030D-6E8A-4147-A177-3AD203B41FA5}">
                      <a16:colId xmlns:a16="http://schemas.microsoft.com/office/drawing/2014/main" val="3945642956"/>
                    </a:ext>
                  </a:extLst>
                </a:gridCol>
                <a:gridCol w="5383104">
                  <a:extLst>
                    <a:ext uri="{9D8B030D-6E8A-4147-A177-3AD203B41FA5}">
                      <a16:colId xmlns:a16="http://schemas.microsoft.com/office/drawing/2014/main" val="1891668354"/>
                    </a:ext>
                  </a:extLst>
                </a:gridCol>
              </a:tblGrid>
              <a:tr h="32155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uman Death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6342055"/>
                  </a:ext>
                </a:extLst>
              </a:tr>
              <a:tr h="32155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uman Injurie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841386"/>
                  </a:ext>
                </a:extLst>
              </a:tr>
              <a:tr h="32155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isplaced Person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20 Families Affected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8240076"/>
                  </a:ext>
                </a:extLst>
              </a:tr>
              <a:tr h="508787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ouses Fully Damaged 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8683078"/>
                  </a:ext>
                </a:extLst>
              </a:tr>
              <a:tr h="54663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Houses Partially Damaged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03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5831648"/>
                  </a:ext>
                </a:extLst>
              </a:tr>
              <a:tr h="32155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Cattles perished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920569"/>
                  </a:ext>
                </a:extLst>
              </a:tr>
              <a:tr h="32155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Bridge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05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21419"/>
                  </a:ext>
                </a:extLst>
              </a:tr>
              <a:tr h="321553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chool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02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00957879"/>
                  </a:ext>
                </a:extLst>
              </a:tr>
              <a:tr h="54663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rinking Water Supply Scheme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3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7067894"/>
                  </a:ext>
                </a:extLst>
              </a:tr>
              <a:tr h="54663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Shops Damage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6115666"/>
                  </a:ext>
                </a:extLst>
              </a:tr>
              <a:tr h="54663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Power House Damages</a:t>
                      </a:r>
                      <a:endParaRPr lang="en-PK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092514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0133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heme/theme1.xml><?xml version="1.0" encoding="utf-8"?>
<a:theme xmlns:a="http://schemas.openxmlformats.org/drawingml/2006/main" name="9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52</TotalTime>
  <Words>1224</Words>
  <Application>Microsoft Office PowerPoint</Application>
  <PresentationFormat>Widescreen</PresentationFormat>
  <Paragraphs>416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7" baseType="lpstr">
      <vt:lpstr>Arial</vt:lpstr>
      <vt:lpstr>Calibri</vt:lpstr>
      <vt:lpstr>Segoe UI</vt:lpstr>
      <vt:lpstr>Wingdings</vt:lpstr>
      <vt:lpstr>9_White</vt:lpstr>
      <vt:lpstr>think-cell Slide</vt:lpstr>
      <vt:lpstr>Khyber Pakhtunkhwa  Monsoon 2023 Updates  (17th July To Till Date)</vt:lpstr>
      <vt:lpstr>Agenda</vt:lpstr>
      <vt:lpstr>Agenda</vt:lpstr>
      <vt:lpstr>Overview</vt:lpstr>
      <vt:lpstr>Overview</vt:lpstr>
      <vt:lpstr>Overview</vt:lpstr>
      <vt:lpstr>Overview</vt:lpstr>
      <vt:lpstr>Agenda</vt:lpstr>
      <vt:lpstr>Damages Overview</vt:lpstr>
      <vt:lpstr>District Wise Damages to Human Settlements</vt:lpstr>
      <vt:lpstr>Damages to Bridges</vt:lpstr>
      <vt:lpstr>Water/ Drinking Water Supply Scheme (Chitral Lower)</vt:lpstr>
      <vt:lpstr>Water/ Drinking Water Supply Scheme (Chitral Upper)</vt:lpstr>
      <vt:lpstr>Agenda</vt:lpstr>
      <vt:lpstr>Response &amp; Relief Measures (1/2)</vt:lpstr>
      <vt:lpstr>Response &amp; Relief Measures (2/2)</vt:lpstr>
      <vt:lpstr>Agenda</vt:lpstr>
      <vt:lpstr>Current Road Situation (Chitral Upper)</vt:lpstr>
      <vt:lpstr>Current Road Situation (Chitral Lower)</vt:lpstr>
      <vt:lpstr>Road Situation in Swat &amp; Battagram</vt:lpstr>
      <vt:lpstr>Pictorial View </vt:lpstr>
      <vt:lpstr>Pictorial View</vt:lpstr>
      <vt:lpstr>Pictorial View </vt:lpstr>
      <vt:lpstr>Pictorial View</vt:lpstr>
      <vt:lpstr>Thanks</vt:lpstr>
      <vt:lpstr>PDMA Advisory (11th July)</vt:lpstr>
      <vt:lpstr>PDMA Advisory (17th July)</vt:lpstr>
      <vt:lpstr>PDMA Advisory (19th July)</vt:lpstr>
      <vt:lpstr>PDMA Advisory (21st July)</vt:lpstr>
      <vt:lpstr>Emergency Notification in District Chitral (Lower &amp; Upper)</vt:lpstr>
      <vt:lpstr>PDMA Revised Compensation Policy 20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ood 2022</dc:title>
  <dc:creator>Nasr Kakakhel</dc:creator>
  <cp:lastModifiedBy>fahad tahir</cp:lastModifiedBy>
  <cp:revision>160</cp:revision>
  <dcterms:created xsi:type="dcterms:W3CDTF">2022-08-27T11:48:24Z</dcterms:created>
  <dcterms:modified xsi:type="dcterms:W3CDTF">2023-07-23T19:26:42Z</dcterms:modified>
</cp:coreProperties>
</file>